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gif" ContentType="image/gif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2"/>
  </p:notesMasterIdLst>
  <p:sldIdLst>
    <p:sldId id="297" r:id="rId2"/>
    <p:sldId id="565" r:id="rId3"/>
    <p:sldId id="349" r:id="rId4"/>
    <p:sldId id="444" r:id="rId5"/>
    <p:sldId id="573" r:id="rId6"/>
    <p:sldId id="394" r:id="rId7"/>
    <p:sldId id="395" r:id="rId8"/>
    <p:sldId id="445" r:id="rId9"/>
    <p:sldId id="397" r:id="rId10"/>
    <p:sldId id="447" r:id="rId11"/>
    <p:sldId id="400" r:id="rId12"/>
    <p:sldId id="401" r:id="rId13"/>
    <p:sldId id="402" r:id="rId14"/>
    <p:sldId id="406" r:id="rId15"/>
    <p:sldId id="574" r:id="rId16"/>
    <p:sldId id="298" r:id="rId17"/>
    <p:sldId id="299" r:id="rId18"/>
    <p:sldId id="350" r:id="rId19"/>
    <p:sldId id="383" r:id="rId20"/>
    <p:sldId id="384" r:id="rId21"/>
    <p:sldId id="385" r:id="rId22"/>
    <p:sldId id="387" r:id="rId23"/>
    <p:sldId id="388" r:id="rId24"/>
    <p:sldId id="389" r:id="rId25"/>
    <p:sldId id="391" r:id="rId26"/>
    <p:sldId id="390" r:id="rId27"/>
    <p:sldId id="448" r:id="rId28"/>
    <p:sldId id="449" r:id="rId29"/>
    <p:sldId id="392" r:id="rId30"/>
    <p:sldId id="450" r:id="rId31"/>
    <p:sldId id="405" r:id="rId32"/>
    <p:sldId id="407" r:id="rId33"/>
    <p:sldId id="408" r:id="rId34"/>
    <p:sldId id="386" r:id="rId35"/>
    <p:sldId id="393" r:id="rId36"/>
    <p:sldId id="358" r:id="rId37"/>
    <p:sldId id="410" r:id="rId38"/>
    <p:sldId id="411" r:id="rId39"/>
    <p:sldId id="412" r:id="rId40"/>
    <p:sldId id="413" r:id="rId41"/>
    <p:sldId id="575" r:id="rId42"/>
    <p:sldId id="414" r:id="rId43"/>
    <p:sldId id="451" r:id="rId44"/>
    <p:sldId id="415" r:id="rId45"/>
    <p:sldId id="416" r:id="rId46"/>
    <p:sldId id="418" r:id="rId47"/>
    <p:sldId id="417" r:id="rId48"/>
    <p:sldId id="419" r:id="rId49"/>
    <p:sldId id="420" r:id="rId50"/>
    <p:sldId id="452" r:id="rId51"/>
    <p:sldId id="421" r:id="rId52"/>
    <p:sldId id="422" r:id="rId53"/>
    <p:sldId id="425" r:id="rId54"/>
    <p:sldId id="423" r:id="rId55"/>
    <p:sldId id="424" r:id="rId56"/>
    <p:sldId id="426" r:id="rId57"/>
    <p:sldId id="427" r:id="rId58"/>
    <p:sldId id="428" r:id="rId59"/>
    <p:sldId id="429" r:id="rId60"/>
    <p:sldId id="431" r:id="rId61"/>
    <p:sldId id="453" r:id="rId62"/>
    <p:sldId id="432" r:id="rId63"/>
    <p:sldId id="433" r:id="rId64"/>
    <p:sldId id="438" r:id="rId65"/>
    <p:sldId id="454" r:id="rId66"/>
    <p:sldId id="459" r:id="rId67"/>
    <p:sldId id="457" r:id="rId68"/>
    <p:sldId id="458" r:id="rId69"/>
    <p:sldId id="461" r:id="rId70"/>
    <p:sldId id="577" r:id="rId71"/>
    <p:sldId id="497" r:id="rId72"/>
    <p:sldId id="500" r:id="rId73"/>
    <p:sldId id="501" r:id="rId74"/>
    <p:sldId id="499" r:id="rId75"/>
    <p:sldId id="540" r:id="rId76"/>
    <p:sldId id="503" r:id="rId77"/>
    <p:sldId id="504" r:id="rId78"/>
    <p:sldId id="531" r:id="rId79"/>
    <p:sldId id="532" r:id="rId80"/>
    <p:sldId id="514" r:id="rId81"/>
    <p:sldId id="533" r:id="rId82"/>
    <p:sldId id="537" r:id="rId83"/>
    <p:sldId id="534" r:id="rId84"/>
    <p:sldId id="567" r:id="rId85"/>
    <p:sldId id="568" r:id="rId86"/>
    <p:sldId id="569" r:id="rId87"/>
    <p:sldId id="570" r:id="rId88"/>
    <p:sldId id="578" r:id="rId89"/>
    <p:sldId id="572" r:id="rId90"/>
    <p:sldId id="579" r:id="rId9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06" autoAdjust="0"/>
    <p:restoredTop sz="94162" autoAdjust="0"/>
  </p:normalViewPr>
  <p:slideViewPr>
    <p:cSldViewPr snapToGrid="0">
      <p:cViewPr varScale="1">
        <p:scale>
          <a:sx n="67" d="100"/>
          <a:sy n="67" d="100"/>
        </p:scale>
        <p:origin x="142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97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39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6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s this a good model?</a:t>
            </a:r>
          </a:p>
          <a:p>
            <a:r>
              <a:rPr lang="en-US" dirty="0" smtClean="0"/>
              <a:t>18 + -18 cancel each other o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ancy</a:t>
            </a:r>
            <a:r>
              <a:rPr lang="en-US" baseline="0" dirty="0" smtClean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 smtClean="0"/>
              <a:t>std</a:t>
            </a:r>
            <a:r>
              <a:rPr lang="en-US" sz="1200" dirty="0" smtClean="0"/>
              <a:t> error is more</a:t>
            </a:r>
            <a:r>
              <a:rPr lang="en-US" sz="1200" baseline="0" dirty="0" smtClean="0"/>
              <a:t> than the coefficient you can’t really trust the coefficient since it could be positive or negative…the model couldn’t figure it out.</a:t>
            </a:r>
            <a:endParaRPr lang="en-US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 smtClean="0">
                <a:effectLst/>
              </a:rPr>
              <a:t>CC_clean</a:t>
            </a:r>
            <a:endParaRPr lang="en-US" dirty="0" smtClean="0">
              <a:effectLst/>
            </a:endParaRPr>
          </a:p>
          <a:p>
            <a:r>
              <a:rPr lang="en-US" dirty="0" err="1" smtClean="0">
                <a:effectLst/>
              </a:rPr>
              <a:t>Automatic_clean</a:t>
            </a:r>
            <a:endParaRPr lang="en-US" dirty="0" smtClean="0">
              <a:effectLst/>
            </a:endParaRPr>
          </a:p>
          <a:p>
            <a:r>
              <a:rPr lang="en-US" dirty="0" err="1" smtClean="0">
                <a:effectLst/>
              </a:rPr>
              <a:t>Met_Color_clean</a:t>
            </a:r>
            <a:endParaRPr lang="en-US" dirty="0" smtClean="0">
              <a:effectLst/>
            </a:endParaRPr>
          </a:p>
          <a:p>
            <a:endParaRPr lang="en-US" baseline="0" dirty="0" smtClean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effectLst/>
              </a:rPr>
              <a:t>Fuel_Type_catP</a:t>
            </a:r>
            <a:r>
              <a:rPr lang="en-US" dirty="0" smtClean="0">
                <a:effectLst/>
              </a:rPr>
              <a:t> (prevalence) </a:t>
            </a:r>
            <a:r>
              <a:rPr lang="en-US" dirty="0" err="1" smtClean="0">
                <a:effectLst/>
              </a:rPr>
              <a:t>ie</a:t>
            </a:r>
            <a:r>
              <a:rPr lang="en-US" dirty="0" smtClean="0">
                <a:effectLst/>
              </a:rPr>
              <a:t>.</a:t>
            </a:r>
            <a:r>
              <a:rPr lang="en-US" baseline="0" dirty="0" smtClean="0">
                <a:effectLst/>
              </a:rPr>
              <a:t> </a:t>
            </a:r>
            <a:r>
              <a:rPr lang="en-US" sz="1200" dirty="0" smtClean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 smtClean="0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 smtClean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 smtClean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 smtClean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could drop</a:t>
            </a:r>
            <a:r>
              <a:rPr lang="en-US" baseline="0" dirty="0" smtClean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could drop</a:t>
            </a:r>
            <a:r>
              <a:rPr lang="en-US" baseline="0" dirty="0" smtClean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or the predict warning about rank deficient matrices:</a:t>
            </a:r>
          </a:p>
          <a:p>
            <a:r>
              <a:rPr lang="en-US" dirty="0" smtClean="0"/>
              <a:t>Rank of the matrix</a:t>
            </a:r>
            <a:r>
              <a:rPr lang="en-US" baseline="0" dirty="0" smtClean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es this answer a Y/N</a:t>
            </a:r>
            <a:r>
              <a:rPr lang="en-US" baseline="0" dirty="0" smtClean="0"/>
              <a:t> question?</a:t>
            </a:r>
          </a:p>
          <a:p>
            <a:r>
              <a:rPr lang="en-US" baseline="0" dirty="0" smtClean="0"/>
              <a:t>Can anyone recognize a problem applying regression to a binary classificati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6685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FE20BB20-B012-43D1-9405-CFC2D3949679}" type="slidenum">
              <a:rPr lang="en-US" altLang="en-US">
                <a:latin typeface="Calibri" panose="020F0502020204030204" pitchFamily="34" charset="0"/>
              </a:rPr>
              <a:pPr eaLnBrk="1" hangingPunct="1"/>
              <a:t>76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4654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77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9350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4710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5FC5B10B-B67A-4071-8F07-74D75E8F5F4A}" type="slidenum">
              <a:rPr lang="en-US" altLang="en-US">
                <a:latin typeface="Calibri" panose="020F0502020204030204" pitchFamily="34" charset="0"/>
              </a:rPr>
              <a:pPr eaLnBrk="1" hangingPunct="1"/>
              <a:t>80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495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 you want to “spend” 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 you want to “spend” 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do you want to “spend” data</a:t>
            </a:r>
          </a:p>
          <a:p>
            <a:r>
              <a:rPr lang="en-US" dirty="0" smtClean="0"/>
              <a:t>For large</a:t>
            </a:r>
            <a:r>
              <a:rPr lang="en-US" baseline="0" dirty="0" smtClean="0"/>
              <a:t> data – production, 10% improvement = $500M; 10% overfitting = $-500m</a:t>
            </a:r>
          </a:p>
          <a:p>
            <a:r>
              <a:rPr lang="en-US" baseline="0" dirty="0" smtClean="0"/>
              <a:t>Additional layer of </a:t>
            </a:r>
            <a:r>
              <a:rPr lang="en-US" baseline="0" dirty="0" err="1" smtClean="0"/>
              <a:t>partitionoing</a:t>
            </a:r>
            <a:r>
              <a:rPr lang="en-US" baseline="0" dirty="0" smtClean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Just did carat to diamond prices</a:t>
            </a:r>
          </a:p>
          <a:p>
            <a:r>
              <a:rPr lang="en-US" dirty="0" smtClean="0"/>
              <a:t>Now let’s add more than 1 inp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should we expect the</a:t>
            </a:r>
            <a:r>
              <a:rPr lang="en-US" baseline="0" dirty="0" smtClean="0"/>
              <a:t> beta signs to be?  </a:t>
            </a:r>
            <a:r>
              <a:rPr lang="en-US" baseline="0" dirty="0" err="1" smtClean="0"/>
              <a:t>Whats</a:t>
            </a:r>
            <a:r>
              <a:rPr lang="en-US" baseline="0" dirty="0" smtClean="0"/>
              <a:t> the relationship the information has with ice cream sales?</a:t>
            </a:r>
          </a:p>
          <a:p>
            <a:r>
              <a:rPr lang="en-US" baseline="0" dirty="0" smtClean="0"/>
              <a:t>Temp goes up? Sales go up.  Temp goes down? Sales go down.  Positive relationship</a:t>
            </a:r>
          </a:p>
          <a:p>
            <a:r>
              <a:rPr lang="en-US" baseline="0" dirty="0" smtClean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s this a good model?</a:t>
            </a:r>
          </a:p>
          <a:p>
            <a:r>
              <a:rPr lang="en-US" dirty="0" smtClean="0"/>
              <a:t>18 + -18 cancel each other o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1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1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1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1/2018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1/2018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1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1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6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8.emf"/><Relationship Id="rId4" Type="http://schemas.openxmlformats.org/officeDocument/2006/relationships/package" Target="../embeddings/Microsoft_Word_Document1.docx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6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hyperlink" Target="https://fivethirtyeight.com/features/how-a-data-scientist-whod-never-heard-of-basketball-mastered-march-madness/" TargetMode="External"/><Relationship Id="rId1" Type="http://schemas.openxmlformats.org/officeDocument/2006/relationships/slideLayout" Target="../slideLayouts/slideLayout6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Regression &amp; Logistic Regressio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1/2018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imize Overfitting - Partitio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 smtClean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 smtClean="0"/>
              <a:t>Tune a model and/or compare models with the a </a:t>
            </a:r>
            <a:r>
              <a:rPr lang="en-US" sz="1800" dirty="0" smtClean="0"/>
              <a:t>validation </a:t>
            </a:r>
            <a:r>
              <a:rPr lang="en-US" sz="1800" dirty="0" smtClean="0"/>
              <a:t>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 smtClean="0"/>
              <a:t>The “true” way a model will behave when launched on new data.</a:t>
            </a:r>
            <a:endParaRPr lang="en-US" sz="1800" dirty="0" smtClean="0"/>
          </a:p>
          <a:p>
            <a:pPr>
              <a:buFont typeface="Wingdings 2" pitchFamily="18" charset="2"/>
              <a:buNone/>
            </a:pPr>
            <a:endParaRPr lang="en-US" sz="1800" dirty="0" smtClean="0"/>
          </a:p>
          <a:p>
            <a:pPr>
              <a:buFont typeface="Wingdings 2" pitchFamily="18" charset="2"/>
              <a:buNone/>
            </a:pPr>
            <a:endParaRPr lang="en-US" sz="1800" b="1" dirty="0" smtClean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 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Dat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t Practice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 smtClean="0"/>
              <a:t>If you have enough data and the </a:t>
            </a:r>
            <a:r>
              <a:rPr lang="en-US" dirty="0" smtClean="0"/>
              <a:t>model impact </a:t>
            </a:r>
            <a:r>
              <a:rPr lang="en-US" dirty="0" smtClean="0"/>
              <a:t>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 smtClean="0"/>
              <a:t>However, this much effort is seldom undertaken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ll Data</a:t>
            </a:r>
            <a:endParaRPr lang="en-US" dirty="0"/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ining Data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Test Dat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Validation 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Gla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Next Glass is not out of business but leveraged chemistry &amp; modeling for it’s business model.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in/Test</a:t>
            </a:r>
            <a:endParaRPr lang="en-US" dirty="0"/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in/Validation/Test</a:t>
            </a:r>
            <a:endParaRPr lang="en-US" dirty="0"/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Engineering/Train/</a:t>
            </a:r>
          </a:p>
          <a:p>
            <a:pPr algn="ctr"/>
            <a:r>
              <a:rPr lang="en-US" dirty="0" smtClean="0"/>
              <a:t>Validation/Test</a:t>
            </a:r>
            <a:endParaRPr lang="en-US" dirty="0"/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 smtClean="0"/>
              <a:t>Open </a:t>
            </a:r>
            <a:r>
              <a:rPr lang="en-US" sz="2400" b="1" u="sng" dirty="0" err="1" smtClean="0"/>
              <a:t>B_anotherGlass.R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 smtClean="0">
                <a:latin typeface="Franklin Gothic Book" pitchFamily="34" charset="0"/>
              </a:rPr>
              <a:t>Data Mining consists of supervised methods (Classification &amp; Prediction) and unsupervised methods (Association Rules, Data Reduction, Data Exploration &amp; Visualization)</a:t>
            </a:r>
          </a:p>
          <a:p>
            <a:r>
              <a:rPr lang="en-US" altLang="en-US" sz="2400" dirty="0" smtClean="0">
                <a:latin typeface="Franklin Gothic Book" pitchFamily="34" charset="0"/>
              </a:rPr>
              <a:t>Before algorithms can be applied, data must be explored </a:t>
            </a:r>
            <a:r>
              <a:rPr lang="en-US" altLang="en-US" sz="2400" dirty="0" smtClean="0">
                <a:latin typeface="Franklin Gothic Book" pitchFamily="34" charset="0"/>
              </a:rPr>
              <a:t>then most often pre-processed (treated)</a:t>
            </a:r>
            <a:endParaRPr lang="en-US" altLang="en-US" sz="2400" dirty="0" smtClean="0">
              <a:latin typeface="Franklin Gothic Book" pitchFamily="34" charset="0"/>
            </a:endParaRPr>
          </a:p>
          <a:p>
            <a:r>
              <a:rPr lang="en-US" altLang="en-US" sz="2400" dirty="0" smtClean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 smtClean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oday’s lesson explores partitioning and simple prediction and binary classific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3713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Methods: Classification and Prediction</a:t>
            </a:r>
          </a:p>
          <a:p>
            <a:pPr eaLnBrk="1" hangingPunct="1"/>
            <a:endParaRPr lang="en-US" altLang="en-US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ervised Lear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39137" y="2319692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272112" y="2319692"/>
            <a:ext cx="118082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 smtClean="0">
                <a:latin typeface="Open Sans"/>
                <a:ea typeface="Open Sans"/>
                <a:cs typeface="Open Sans"/>
                <a:sym typeface="Open Sans"/>
              </a:rPr>
              <a:t>Algorithm</a:t>
            </a:r>
            <a:endParaRPr lang="en" u="sng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  <a:endParaRPr lang="en" sz="1200" i="1" dirty="0" smtClean="0">
              <a:latin typeface="Open Sans"/>
              <a:ea typeface="Open Sans"/>
              <a:cs typeface="Open Sans"/>
              <a:sym typeface="Open Sans"/>
            </a:endParaRP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 smtClean="0">
                <a:latin typeface="Open Sans"/>
                <a:ea typeface="Open Sans"/>
                <a:cs typeface="Open Sans"/>
                <a:sym typeface="Open Sans"/>
              </a:rPr>
              <a:t>One </a:t>
            </a:r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</a:t>
            </a:r>
            <a:r>
              <a:rPr lang="en" u="sng" dirty="0" smtClean="0">
                <a:latin typeface="Open Sans"/>
                <a:ea typeface="Open Sans"/>
                <a:cs typeface="Open Sans"/>
                <a:sym typeface="Open Sans"/>
              </a:rPr>
              <a:t>Context</a:t>
            </a:r>
            <a:endParaRPr lang="en" u="sng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</a:t>
            </a:r>
            <a:r>
              <a:rPr lang="en" sz="1100" dirty="0" smtClean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QB score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 smtClean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  <a:endParaRPr lang="en" sz="1200" i="1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ervised Learning Examp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impacts ice cream sale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 smtClean="0"/>
              <a:t>Linear Regression for continuous outcom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  <a:endParaRPr lang="en" sz="24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498" t="-2439" b="-2682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me linear combination of temperature values, day of the week dummy variables and price estimate the number of cones that will sel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846595"/>
              </p:ext>
            </p:extLst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utcome:</a:t>
            </a:r>
          </a:p>
          <a:p>
            <a:pPr algn="ctr"/>
            <a:r>
              <a:rPr lang="en-US" dirty="0" smtClean="0"/>
              <a:t>The “dependent”, “y” or “target”.</a:t>
            </a:r>
          </a:p>
          <a:p>
            <a:pPr algn="ctr"/>
            <a:r>
              <a:rPr lang="en-US" sz="1400" i="1" dirty="0" smtClean="0"/>
              <a:t>Number of Ice Cream Cones</a:t>
            </a:r>
            <a:endParaRPr lang="en-US" sz="1400" i="1" dirty="0"/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stant:</a:t>
            </a:r>
          </a:p>
          <a:p>
            <a:pPr algn="ctr"/>
            <a:r>
              <a:rPr lang="en-US" dirty="0" smtClean="0"/>
              <a:t>The “intercept” or “beta-naught” has no predictor associated with it. </a:t>
            </a:r>
          </a:p>
          <a:p>
            <a:pPr algn="ctr"/>
            <a:r>
              <a:rPr lang="en-US" sz="1400" i="1" dirty="0" smtClean="0"/>
              <a:t>Avg. Number of Ice Cream Cones expected to sell if predictors were all 0. </a:t>
            </a:r>
            <a:endParaRPr lang="en-US" sz="1400" i="1" dirty="0"/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210109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829109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edictors:</a:t>
            </a:r>
          </a:p>
          <a:p>
            <a:pPr algn="ctr"/>
            <a:r>
              <a:rPr lang="en-US" dirty="0" smtClean="0"/>
              <a:t>The “informative features”, “x” or “independent” variables.  </a:t>
            </a:r>
          </a:p>
          <a:p>
            <a:pPr algn="ctr"/>
            <a:r>
              <a:rPr lang="en-US" sz="1400" i="1" dirty="0" smtClean="0"/>
              <a:t>Variables affecting sales in the data, temp, day, &amp; price.  </a:t>
            </a:r>
            <a:endParaRPr lang="en-US" sz="1400" i="1" dirty="0"/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efficients:</a:t>
            </a:r>
          </a:p>
          <a:p>
            <a:pPr algn="ctr"/>
            <a:r>
              <a:rPr lang="en-US" dirty="0" smtClean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rror:</a:t>
            </a:r>
          </a:p>
          <a:p>
            <a:pPr algn="ctr"/>
            <a:r>
              <a:rPr lang="en-US" dirty="0" smtClean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 smtClean="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 smtClean="0">
                <a:solidFill>
                  <a:schemeClr val="tx1"/>
                </a:solidFill>
              </a:rPr>
              <a:t>This combination manifests as the “best fit line”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-0.5</a:t>
                  </a:r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  <a:endParaRPr lang="en" sz="20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17432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Beta-Naugh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mperatu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 * 80 degre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 * 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0.5 * 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 * 8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 * 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0.5 * 2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 smtClean="0"/>
                    <a:t>-0.5</a:t>
                  </a:r>
                  <a:r>
                    <a:rPr lang="en" sz="20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  <a:endParaRPr lang="en" sz="20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741659"/>
              </p:ext>
            </p:extLst>
          </p:nvPr>
        </p:nvGraphicFramePr>
        <p:xfrm>
          <a:off x="2173486" y="3847355"/>
          <a:ext cx="6293295" cy="124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/>
                <a:gridCol w="1219200"/>
                <a:gridCol w="1219200"/>
                <a:gridCol w="1416495"/>
                <a:gridCol w="12192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est</a:t>
                      </a:r>
                      <a:r>
                        <a:rPr lang="en-US" baseline="0" dirty="0" smtClean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eta-Naugh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mperatu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6.5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2.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7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1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 smtClean="0"/>
              <a:t>Minimizing the Sum of Ordinary Least Squared Errors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quation:</a:t>
            </a:r>
          </a:p>
          <a:p>
            <a:r>
              <a:rPr lang="en-US" dirty="0" smtClean="0"/>
              <a:t>Y= 0 +(0*x)</a:t>
            </a:r>
          </a:p>
          <a:p>
            <a:endParaRPr lang="en-US" dirty="0"/>
          </a:p>
          <a:p>
            <a:r>
              <a:rPr lang="en-US" dirty="0" smtClean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 smtClean="0"/>
          </a:p>
          <a:p>
            <a:r>
              <a:rPr lang="en-US" dirty="0" smtClean="0"/>
              <a:t>X </a:t>
            </a:r>
            <a:r>
              <a:rPr lang="en-US" dirty="0"/>
              <a:t>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d line is the predicted outcome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</a:t>
            </a:r>
            <a:r>
              <a:rPr lang="en-US" sz="1600" dirty="0" smtClean="0"/>
              <a:t>Y Values represent </a:t>
            </a:r>
            <a:r>
              <a:rPr lang="en-US" sz="1600" dirty="0"/>
              <a:t>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MINU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Equals the Error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 smtClean="0"/>
              <a:t>Open </a:t>
            </a:r>
            <a:r>
              <a:rPr lang="en-US" sz="2400" u="sng" dirty="0" err="1" smtClean="0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edict Diamond Prices with linear regress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 smtClean="0"/>
              <a:t>Big Errors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quation:</a:t>
            </a:r>
          </a:p>
          <a:p>
            <a:r>
              <a:rPr lang="en-US" dirty="0" smtClean="0"/>
              <a:t>Y= 0 +(0*x)</a:t>
            </a:r>
          </a:p>
          <a:p>
            <a:endParaRPr lang="en-US" dirty="0"/>
          </a:p>
          <a:p>
            <a:r>
              <a:rPr lang="en-US" dirty="0" smtClean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 smtClean="0"/>
          </a:p>
          <a:p>
            <a:r>
              <a:rPr lang="en-US" dirty="0" smtClean="0"/>
              <a:t>X </a:t>
            </a:r>
            <a:r>
              <a:rPr lang="en-US" dirty="0"/>
              <a:t>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d line is the predicted outcome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</a:t>
            </a:r>
            <a:r>
              <a:rPr lang="en-US" sz="1600" dirty="0" smtClean="0"/>
              <a:t>Y Values represent </a:t>
            </a:r>
            <a:r>
              <a:rPr lang="en-US" sz="1600" dirty="0"/>
              <a:t>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MINU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Equals the Error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really going 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 some are negative and some are positive</a:t>
            </a:r>
            <a:endParaRPr lang="en-US" dirty="0"/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Squared Error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d line is the predicted outcome</a:t>
            </a:r>
            <a:endParaRPr lang="en-US" sz="1600" dirty="0"/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</a:t>
            </a:r>
            <a:r>
              <a:rPr lang="en-US" sz="1600" dirty="0" smtClean="0"/>
              <a:t>Y Values represent </a:t>
            </a:r>
            <a:r>
              <a:rPr lang="en-US" sz="1600" dirty="0"/>
              <a:t>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MINU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Equals the Error</a:t>
            </a: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18 + </a:t>
            </a:r>
            <a:r>
              <a:rPr lang="en-US" sz="2400" dirty="0" smtClean="0"/>
              <a:t>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 smtClean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8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 smtClean="0"/>
              <a:t> + </a:t>
            </a:r>
            <a:r>
              <a:rPr lang="en-US" sz="24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-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b="1" dirty="0" smtClean="0">
                <a:solidFill>
                  <a:schemeClr val="accent1"/>
                </a:solidFill>
              </a:rPr>
              <a:t>+ </a:t>
            </a:r>
            <a:r>
              <a:rPr lang="en-US" sz="24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 smtClean="0">
                <a:solidFill>
                  <a:schemeClr val="accent1"/>
                </a:solidFill>
              </a:rPr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15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5</a:t>
            </a:r>
            <a:r>
              <a:rPr lang="en-US" sz="2400" dirty="0"/>
              <a:t> </a:t>
            </a:r>
            <a:r>
              <a:rPr lang="en-US" sz="2400" dirty="0" smtClean="0"/>
              <a:t>+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/>
              <a:t>-3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Squared Error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Without squaring the errors positive &amp; negative prediction errors cancel each other out.</a:t>
            </a:r>
            <a:endParaRPr lang="en-US" sz="1600" dirty="0"/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18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 smtClean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9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 smtClean="0">
                <a:solidFill>
                  <a:schemeClr val="accent1"/>
                </a:solidFill>
              </a:rPr>
              <a:t> </a:t>
            </a:r>
            <a:r>
              <a:rPr lang="en-US" b="1" dirty="0" smtClean="0">
                <a:solidFill>
                  <a:schemeClr val="accent1"/>
                </a:solidFill>
              </a:rPr>
              <a:t>+ </a:t>
            </a: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en-US" dirty="0" smtClean="0"/>
              <a:t>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/>
              <a:t> 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Squaring the error means all errors have the same impact on the optimization function.</a:t>
            </a:r>
            <a:endParaRPr lang="en-US" sz="1600" dirty="0"/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 smtClean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</a:t>
            </a:r>
            <a:r>
              <a:rPr lang="en-US" dirty="0" smtClean="0"/>
              <a:t>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 smtClean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</a:t>
            </a:r>
            <a:r>
              <a:rPr lang="en-US" dirty="0" smtClean="0"/>
              <a:t>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 smtClean="0"/>
              <a:t> </a:t>
            </a: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 smtClean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</a:t>
            </a:r>
            <a:r>
              <a:rPr lang="en-US" dirty="0" smtClean="0"/>
              <a:t>+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/>
              <a:t>8445</a:t>
            </a:r>
            <a:endParaRPr lang="en-US" sz="4000" b="1" dirty="0"/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 what is really going 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 smtClean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 smtClean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his is called “ordinary least squares (OLS).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8863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Open C_Regression_v1.R</a:t>
            </a:r>
            <a:endParaRPr lang="en-US" sz="2800" b="1" u="sng" dirty="0"/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Topics</a:t>
            </a:r>
          </a:p>
        </p:txBody>
      </p:sp>
      <p:sp>
        <p:nvSpPr>
          <p:cNvPr id="9219" name="Rectangle 3"/>
          <p:cNvSpPr>
            <a:spLocks noGrp="1"/>
          </p:cNvSpPr>
          <p:nvPr>
            <p:ph type="body" idx="1"/>
          </p:nvPr>
        </p:nvSpPr>
        <p:spPr>
          <a:xfrm>
            <a:off x="914400" y="1676400"/>
            <a:ext cx="7772400" cy="4572000"/>
          </a:xfrm>
        </p:spPr>
        <p:txBody>
          <a:bodyPr/>
          <a:lstStyle/>
          <a:p>
            <a:r>
              <a:rPr lang="en-US" altLang="en-US" dirty="0" smtClean="0">
                <a:latin typeface="Franklin Gothic Book" panose="020B0503020102020204" pitchFamily="34" charset="0"/>
              </a:rPr>
              <a:t>Explanatory vs. predictive modeling with regression</a:t>
            </a:r>
          </a:p>
          <a:p>
            <a:r>
              <a:rPr lang="en-US" altLang="en-US" dirty="0" smtClean="0">
                <a:latin typeface="Franklin Gothic Book" panose="020B0503020102020204" pitchFamily="34" charset="0"/>
              </a:rPr>
              <a:t>Example: prices of Toyota Corollas</a:t>
            </a:r>
          </a:p>
          <a:p>
            <a:r>
              <a:rPr lang="en-US" altLang="en-US" dirty="0" smtClean="0">
                <a:latin typeface="Franklin Gothic Book" panose="020B0503020102020204" pitchFamily="34" charset="0"/>
              </a:rPr>
              <a:t>Fitting a predictive model</a:t>
            </a:r>
          </a:p>
          <a:p>
            <a:r>
              <a:rPr lang="en-US" altLang="en-US" dirty="0" smtClean="0">
                <a:latin typeface="Franklin Gothic Book" panose="020B0503020102020204" pitchFamily="34" charset="0"/>
              </a:rPr>
              <a:t>Assessing predictive accuracy</a:t>
            </a:r>
          </a:p>
          <a:p>
            <a:r>
              <a:rPr lang="en-US" altLang="en-US" dirty="0" smtClean="0">
                <a:latin typeface="Franklin Gothic Book" panose="020B0503020102020204" pitchFamily="34" charset="0"/>
              </a:rPr>
              <a:t>Selecting a subset of predictors</a:t>
            </a:r>
          </a:p>
          <a:p>
            <a:endParaRPr lang="en-US" altLang="en-US" dirty="0" smtClean="0">
              <a:latin typeface="Franklin Gothic Book" panose="020B0503020102020204" pitchFamily="34" charset="0"/>
            </a:endParaRPr>
          </a:p>
        </p:txBody>
      </p:sp>
      <p:sp>
        <p:nvSpPr>
          <p:cNvPr id="9220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914400" y="6172200"/>
            <a:ext cx="39624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chemeClr val="tx2"/>
                </a:solidFill>
                <a:latin typeface="Perpetua" panose="02020502060401020303" pitchFamily="18" charset="0"/>
              </a:rPr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242025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ory Vs Predic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e is a positive relationship between number of rooms and housing prices.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206240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viewing beta coefficients can explain relationship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724" y="2966605"/>
            <a:ext cx="3305175" cy="1257300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2044930" y="3790604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Holding all other inputs constant </a:t>
            </a:r>
            <a:r>
              <a:rPr lang="en-US" dirty="0" smtClean="0"/>
              <a:t>the median price would increase 9.534 for each roo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ory Model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 smtClean="0">
                <a:latin typeface="Franklin Gothic Book" pitchFamily="34" charset="0"/>
              </a:rPr>
              <a:t>Goal: </a:t>
            </a:r>
            <a:r>
              <a:rPr lang="en-US" smtClean="0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 smtClean="0">
              <a:latin typeface="Franklin Gothic Book" pitchFamily="34" charset="0"/>
            </a:endParaRP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 smtClean="0">
              <a:latin typeface="Franklin Gothic Book" pitchFamily="34" charset="0"/>
            </a:endParaRP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 smtClean="0">
              <a:latin typeface="Franklin Gothic Book" pitchFamily="34" charset="0"/>
            </a:endParaRP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“goodness-of-fit”: R</a:t>
            </a:r>
            <a:r>
              <a:rPr lang="en-US" baseline="30000" smtClean="0">
                <a:latin typeface="Franklin Gothic Book" pitchFamily="34" charset="0"/>
              </a:rPr>
              <a:t>2</a:t>
            </a:r>
            <a:r>
              <a:rPr lang="en-US" smtClean="0">
                <a:latin typeface="Franklin Gothic Book" pitchFamily="34" charset="0"/>
              </a:rPr>
              <a:t>, residual analysis, p-values</a:t>
            </a:r>
            <a:endParaRPr lang="en-US" dirty="0" smtClean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dictive Model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 smtClean="0">
                <a:latin typeface="Franklin Gothic Book" pitchFamily="34" charset="0"/>
              </a:rPr>
              <a:t>Goal: </a:t>
            </a:r>
            <a:r>
              <a:rPr lang="en-US" smtClean="0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Model Goal: </a:t>
            </a:r>
            <a:r>
              <a:rPr lang="en-US" b="1" smtClean="0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 smtClean="0">
                <a:latin typeface="Franklin Gothic Book" pitchFamily="34" charset="0"/>
              </a:rPr>
              <a:t>Explaining role of predictors is not primary purpose (but useful)</a:t>
            </a:r>
            <a:endParaRPr lang="en-US" dirty="0" smtClean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ory Vs Predictive Model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ake sure you understand the point of your project</a:t>
            </a:r>
          </a:p>
          <a:p>
            <a:pPr algn="ctr"/>
            <a:r>
              <a:rPr lang="en-US" dirty="0" smtClean="0"/>
              <a:t>(explanatory or predictive)</a:t>
            </a:r>
          </a:p>
          <a:p>
            <a:pPr algn="ctr"/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o leaders want to </a:t>
            </a:r>
            <a:r>
              <a:rPr lang="en-US" dirty="0" smtClean="0"/>
              <a:t>understand new data points for prediction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is impacts how you evaluate the model and even what variables you choos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84136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 smtClean="0"/>
              <a:t>How does truecar.com know the price is “great?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Yeah!  I got a new job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le, </a:t>
            </a:r>
            <a:r>
              <a:rPr lang="en-US" dirty="0"/>
              <a:t>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 smtClean="0"/>
              <a:t>Welcome Dale to </a:t>
            </a:r>
            <a:r>
              <a:rPr lang="en-US" dirty="0" err="1" smtClean="0"/>
              <a:t>TrueCar’s</a:t>
            </a:r>
            <a:r>
              <a:rPr lang="en-US" dirty="0" smtClean="0"/>
              <a:t> Competitor: </a:t>
            </a:r>
            <a:r>
              <a:rPr lang="en-US" dirty="0" err="1" smtClean="0"/>
              <a:t>OldC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help Dale agai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ut of course.  This sounds like a predictive modeling project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 smtClean="0"/>
              <a:t>Remember the Workflow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S-96</a:t>
            </a:r>
            <a:endParaRPr lang="en-US" dirty="0"/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Formulation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 smtClean="0">
                <a:latin typeface="Open Sans"/>
                <a:ea typeface="Open Sans"/>
                <a:cs typeface="Open Sans"/>
                <a:sym typeface="Open Sans"/>
              </a:rPr>
              <a:t>.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requirements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~1400 cars &amp; car attributes </a:t>
            </a:r>
            <a:endParaRPr lang="en" b="1" dirty="0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Explore </a:t>
            </a: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the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data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  <a:endParaRPr lang="en" b="1" dirty="0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Asses/Adjust </a:t>
            </a: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the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Project Artifacts 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Document </a:t>
            </a: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to make it </a:t>
            </a:r>
            <a:r>
              <a:rPr lang="en" b="1" dirty="0" smtClean="0">
                <a:latin typeface="Open Sans"/>
                <a:ea typeface="Open Sans"/>
                <a:cs typeface="Open Sans"/>
                <a:sym typeface="Open Sans"/>
              </a:rPr>
              <a:t>repeatable  </a:t>
            </a:r>
            <a:r>
              <a:rPr lang="en" b="1" dirty="0" smtClean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  <a:endParaRPr lang="en" b="1" dirty="0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</a:t>
            </a:r>
            <a:r>
              <a:rPr lang="en" sz="10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Results</a:t>
            </a:r>
            <a:endParaRPr lang="en" sz="10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  <a:endParaRPr lang="en" sz="10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  <a:endParaRPr lang="en" sz="10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  <a:endParaRPr lang="en" sz="10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 smtClean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 smtClean="0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smtClean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 smtClean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Open </a:t>
            </a:r>
            <a:r>
              <a:rPr lang="en-US" sz="2800" b="1" u="sng" dirty="0" err="1" smtClean="0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sing the preprocessing and partitioning code in your toolbox, create a linear model of Toyota pric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is susceptible to </a:t>
            </a:r>
            <a:r>
              <a:rPr lang="en-US" b="1" dirty="0" smtClean="0">
                <a:solidFill>
                  <a:schemeClr val="accent1"/>
                </a:solidFill>
              </a:rPr>
              <a:t>multi-</a:t>
            </a:r>
            <a:r>
              <a:rPr lang="en-US" b="1" dirty="0" err="1" smtClean="0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Don’t shock the cat by having multi-collinearity.</a:t>
            </a:r>
            <a:endParaRPr lang="en-US" sz="1200" i="1" dirty="0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Math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In other word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presence of two or more predictor variables sharing the same linear relationship with the outcome variable. 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wo+ informative features are measuring essentially the same thing.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hen predicting ice cream sales you include Fahrenheit and Celsius temperatures as two separate informative featur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is susceptible to </a:t>
            </a:r>
            <a:r>
              <a:rPr lang="en-US" b="1" dirty="0" smtClean="0">
                <a:solidFill>
                  <a:schemeClr val="accent1"/>
                </a:solidFill>
              </a:rPr>
              <a:t>multi-</a:t>
            </a:r>
            <a:r>
              <a:rPr lang="en-US" b="1" dirty="0" err="1" smtClean="0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What happens with multi-collinearity?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The good new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Best Practic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effect is exaggerated e.g. double counted.  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ther algorithms are not affected by double counting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ven though </a:t>
            </a:r>
            <a:r>
              <a:rPr lang="en-US" dirty="0"/>
              <a:t>R</a:t>
            </a:r>
            <a:r>
              <a:rPr lang="en-US" dirty="0" smtClean="0"/>
              <a:t> removes it, do not rely on the function.  Understanding the data you put in will avoid “garbage in, garbage out” scenarios.</a:t>
            </a:r>
            <a:endParaRPr lang="en-US" dirty="0"/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Make happy cats by</a:t>
            </a:r>
          </a:p>
          <a:p>
            <a:pPr algn="ctr"/>
            <a:r>
              <a:rPr lang="en-US" sz="1400" dirty="0" smtClean="0"/>
              <a:t> knowing your data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0886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to R, script D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uto ID of multi </a:t>
            </a:r>
            <a:r>
              <a:rPr lang="en-US" sz="1200" dirty="0" err="1" smtClean="0"/>
              <a:t>colinearit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nother name for errors.</a:t>
            </a:r>
          </a:p>
          <a:p>
            <a:pPr algn="ctr"/>
            <a:r>
              <a:rPr lang="en-US" sz="1200" dirty="0" smtClean="0"/>
              <a:t>Summary stats for the errors.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reated Variable Names i.e. informative features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oefficients or Beta values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he </a:t>
            </a:r>
            <a:r>
              <a:rPr lang="en-US" sz="1200" dirty="0"/>
              <a:t>average amount that the </a:t>
            </a:r>
            <a:r>
              <a:rPr lang="en-US" sz="1200" dirty="0" smtClean="0"/>
              <a:t>coefficients vary </a:t>
            </a:r>
            <a:r>
              <a:rPr lang="en-US" sz="1200" dirty="0"/>
              <a:t>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</a:t>
            </a:r>
            <a:r>
              <a:rPr lang="en-US" sz="1200" dirty="0" smtClean="0"/>
              <a:t>0.  In another way, values away from 0 indicate a real relationship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-Values</a:t>
            </a:r>
          </a:p>
          <a:p>
            <a:pPr algn="ctr"/>
            <a:r>
              <a:rPr lang="en-US" sz="1200" dirty="0" smtClean="0"/>
              <a:t>The probability of seeing a value larger than the t value.</a:t>
            </a:r>
          </a:p>
          <a:p>
            <a:pPr algn="ctr"/>
            <a:r>
              <a:rPr lang="en-US" sz="1200" dirty="0" smtClean="0"/>
              <a:t>Small p-values mean its less likely due to chance.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-Values</a:t>
            </a:r>
          </a:p>
          <a:p>
            <a:pPr algn="ctr"/>
            <a:r>
              <a:rPr lang="en-US" sz="1200" dirty="0" smtClean="0"/>
              <a:t>In stats p &lt;0.05 is good but in business I have seen p&lt;0.2.</a:t>
            </a:r>
          </a:p>
          <a:p>
            <a:pPr algn="ctr"/>
            <a:r>
              <a:rPr lang="en-US" sz="1200" dirty="0" smtClean="0"/>
              <a:t>It’s a good idea to rebuild a model without variables that do not meet the cutoff.</a:t>
            </a:r>
            <a:endParaRPr lang="en-US" sz="1200" dirty="0"/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>
                <a:latin typeface="Franklin Gothic Book" pitchFamily="34" charset="0"/>
              </a:rPr>
              <a:t>When used with </a:t>
            </a:r>
            <a:r>
              <a:rPr lang="en-US" altLang="en-US" u="sng">
                <a:latin typeface="Franklin Gothic Book" pitchFamily="34" charset="0"/>
              </a:rPr>
              <a:t>new</a:t>
            </a:r>
            <a:r>
              <a:rPr lang="en-US" altLang="en-US">
                <a:latin typeface="Franklin Gothic Book" pitchFamily="34" charset="0"/>
              </a:rPr>
              <a:t> data, models of great complexity do not do so well.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mmary of the F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-Values</a:t>
            </a:r>
          </a:p>
          <a:p>
            <a:pPr algn="ctr"/>
            <a:r>
              <a:rPr lang="en-US" sz="1200" dirty="0" smtClean="0"/>
              <a:t>We could drop </a:t>
            </a:r>
            <a:r>
              <a:rPr lang="en-US" sz="1200" dirty="0" smtClean="0"/>
              <a:t>??? Based on p values?</a:t>
            </a:r>
            <a:endParaRPr lang="en-US" sz="1200" dirty="0"/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What variables should we drop with a p-value &gt;=0.2?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to the script 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simonious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rsimony or compactness is desirable in models.  The more features in a model, the more complexity we introduce, data integrity, data interactions, time to score and time to predict are all impacted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simonious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/>
              <a:t>R-</a:t>
            </a:r>
            <a:r>
              <a:rPr lang="en-US" sz="1100" dirty="0" err="1" smtClean="0"/>
              <a:t>Sq</a:t>
            </a:r>
            <a:r>
              <a:rPr lang="en-US" sz="1100" dirty="0" smtClean="0"/>
              <a:t>: how much of the variation are the model is fitting. R-</a:t>
            </a:r>
            <a:r>
              <a:rPr lang="en-US" sz="1100" dirty="0" err="1" smtClean="0"/>
              <a:t>Sq</a:t>
            </a:r>
            <a:r>
              <a:rPr lang="en-US" sz="1100" dirty="0" smtClean="0"/>
              <a:t>  measures the linear relationship between Price &amp; </a:t>
            </a:r>
            <a:r>
              <a:rPr lang="en-US" sz="1100" dirty="0"/>
              <a:t>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 the two mod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t1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t2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aluating a Prediction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 smtClean="0">
                <a:solidFill>
                  <a:schemeClr val="tx1"/>
                </a:solidFill>
              </a:rPr>
              <a:t>Sq</a:t>
            </a:r>
            <a:r>
              <a:rPr lang="en-US" dirty="0" smtClean="0">
                <a:solidFill>
                  <a:schemeClr val="tx1"/>
                </a:solidFill>
              </a:rPr>
              <a:t> there are two popular KPI for evaluating continuous model predictions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55780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/>
                <a:gridCol w="173831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y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  <a:r>
              <a:rPr lang="en-US" dirty="0" smtClean="0"/>
              <a:t>-h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M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o manually calculate RMSE, work the acronym backwards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y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  <a:r>
              <a:rPr lang="en-US" dirty="0" smtClean="0"/>
              <a:t>-hat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RROR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RROR-SQ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MS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 the same units being measured, tells you +/- the prediction error.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quare Root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4.03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E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dirty="0" err="1" smtClean="0">
                <a:solidFill>
                  <a:schemeClr val="bg1"/>
                </a:solidFill>
              </a:rPr>
              <a:t>foreast</a:t>
            </a:r>
            <a:r>
              <a:rPr lang="en-US" dirty="0" smtClean="0">
                <a:solidFill>
                  <a:schemeClr val="bg1"/>
                </a:solidFill>
              </a:rPr>
              <a:t> value</a:t>
            </a:r>
            <a:r>
              <a:rPr lang="en-US" dirty="0" smtClean="0">
                <a:solidFill>
                  <a:schemeClr val="bg1"/>
                </a:solidFill>
              </a:rPr>
              <a:t>.  Lastly calculate a mean average of all the percentage errors. 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/>
                <a:gridCol w="1619979"/>
                <a:gridCol w="1039936"/>
                <a:gridCol w="1039936"/>
                <a:gridCol w="103993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bsolu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s % of Forecas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6/16 or </a:t>
                      </a:r>
                      <a:r>
                        <a:rPr lang="en-US" b="1" dirty="0" smtClean="0"/>
                        <a:t>37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4/8 or </a:t>
                      </a:r>
                    </a:p>
                    <a:p>
                      <a:pPr algn="ctr"/>
                      <a:r>
                        <a:rPr lang="en-US" b="1" dirty="0" smtClean="0"/>
                        <a:t>50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3/17 or </a:t>
                      </a:r>
                      <a:r>
                        <a:rPr lang="en-US" b="1" dirty="0" smtClean="0"/>
                        <a:t>17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2/34 or </a:t>
                      </a:r>
                    </a:p>
                    <a:p>
                      <a:pPr algn="ctr"/>
                      <a:r>
                        <a:rPr lang="en-US" b="1" dirty="0" smtClean="0"/>
                        <a:t>5%</a:t>
                      </a:r>
                      <a:endParaRPr lang="en-US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 of Percentag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7%+50%+17%+5%</a:t>
            </a:r>
            <a:endParaRPr lang="en-US" u="sng" dirty="0"/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27.7%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to script 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w good is Dale’s model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89154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Vs Logistic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322" y="1277504"/>
            <a:ext cx="6840415" cy="436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4964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784" y="1306897"/>
            <a:ext cx="7930662" cy="5052352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Binary (Price &gt;$11K = 1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4305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uh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553" y="1294125"/>
            <a:ext cx="7561385" cy="482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73071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find out firsthan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08892" y="1406769"/>
            <a:ext cx="3822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 smtClean="0"/>
              <a:t>Open </a:t>
            </a:r>
            <a:r>
              <a:rPr lang="en-US" sz="2800" b="1" u="sng" dirty="0" err="1" smtClean="0"/>
              <a:t>E_lm_for</a:t>
            </a:r>
            <a:r>
              <a:rPr lang="en-US" sz="2800" b="1" u="sng" dirty="0" smtClean="0"/>
              <a:t> </a:t>
            </a:r>
            <a:r>
              <a:rPr lang="en-US" sz="2800" b="1" u="sng" dirty="0" err="1" smtClean="0"/>
              <a:t>classes.R</a:t>
            </a:r>
            <a:endParaRPr lang="en-US" sz="2800" b="1" u="sng" dirty="0"/>
          </a:p>
        </p:txBody>
      </p:sp>
    </p:spTree>
    <p:extLst>
      <p:ext uri="{BB962C8B-B14F-4D97-AF65-F5344CB8AC3E}">
        <p14:creationId xmlns:p14="http://schemas.microsoft.com/office/powerpoint/2010/main" val="83969604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738554" y="1453662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 smtClean="0"/>
              <a:t>Extends idea of linear regression to situation where outcome variable is categorical</a:t>
            </a:r>
          </a:p>
          <a:p>
            <a:endParaRPr lang="en-US" altLang="en-US" dirty="0" smtClean="0"/>
          </a:p>
          <a:p>
            <a:r>
              <a:rPr lang="en-US" altLang="en-US" dirty="0" smtClean="0"/>
              <a:t>Widely used, particularly where a structured model is useful to explain (=</a:t>
            </a:r>
            <a:r>
              <a:rPr lang="en-US" altLang="en-US" i="1" dirty="0" smtClean="0"/>
              <a:t>profiling</a:t>
            </a:r>
            <a:r>
              <a:rPr lang="en-US" altLang="en-US" dirty="0" smtClean="0"/>
              <a:t>) or to predict</a:t>
            </a:r>
          </a:p>
          <a:p>
            <a:endParaRPr lang="en-US" altLang="en-US" dirty="0" smtClean="0"/>
          </a:p>
          <a:p>
            <a:r>
              <a:rPr lang="en-US" altLang="en-US" dirty="0" smtClean="0"/>
              <a:t>Instead of ordinary least squares, </a:t>
            </a:r>
            <a:r>
              <a:rPr lang="en-US" altLang="en-US" i="1" dirty="0" smtClean="0">
                <a:latin typeface="Symbol" panose="05050102010706020507" pitchFamily="18" charset="2"/>
              </a:rPr>
              <a:t>b </a:t>
            </a:r>
            <a:r>
              <a:rPr lang="en-US" altLang="en-US" dirty="0"/>
              <a:t>estimates a</a:t>
            </a:r>
            <a:r>
              <a:rPr lang="en-US" altLang="en-US" dirty="0" smtClean="0"/>
              <a:t>re derived through an iterative process called </a:t>
            </a:r>
            <a:r>
              <a:rPr lang="en-US" altLang="en-US" i="1" dirty="0" smtClean="0"/>
              <a:t>maximum likelihood estimation</a:t>
            </a:r>
          </a:p>
          <a:p>
            <a:endParaRPr lang="en-US" altLang="en-US" dirty="0" smtClean="0"/>
          </a:p>
          <a:p>
            <a:r>
              <a:rPr lang="en-US" altLang="en-US" dirty="0" smtClean="0"/>
              <a:t>We focus on binary classification</a:t>
            </a:r>
          </a:p>
          <a:p>
            <a:pPr lvl="1">
              <a:buFont typeface="Wingdings 2" panose="05020102010507070707" pitchFamily="18" charset="2"/>
              <a:buNone/>
            </a:pPr>
            <a:r>
              <a:rPr lang="en-US" altLang="en-US" dirty="0" smtClean="0"/>
              <a:t>i.e.  </a:t>
            </a:r>
            <a:r>
              <a:rPr lang="en-US" altLang="en-US" i="1" dirty="0" smtClean="0"/>
              <a:t>Y</a:t>
            </a:r>
            <a:r>
              <a:rPr lang="en-US" altLang="en-US" dirty="0" smtClean="0"/>
              <a:t>=0 or </a:t>
            </a:r>
            <a:r>
              <a:rPr lang="en-US" altLang="en-US" i="1" dirty="0" smtClean="0"/>
              <a:t>Y</a:t>
            </a:r>
            <a:r>
              <a:rPr lang="en-US" altLang="en-US" dirty="0" smtClean="0"/>
              <a:t>=1</a:t>
            </a:r>
          </a:p>
          <a:p>
            <a:endParaRPr lang="en-US" altLang="en-US" dirty="0" smtClean="0"/>
          </a:p>
          <a:p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880160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The Logit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2933115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b="1" dirty="0" smtClean="0"/>
              <a:t>Goal:</a:t>
            </a:r>
            <a:r>
              <a:rPr lang="en-US" altLang="en-US" dirty="0" smtClean="0"/>
              <a:t> Find a function of the predictor variables that relates them to a 0/1 outcome</a:t>
            </a:r>
          </a:p>
          <a:p>
            <a:pPr eaLnBrk="1" hangingPunct="1"/>
            <a:endParaRPr lang="en-US" altLang="en-US" dirty="0" smtClean="0"/>
          </a:p>
          <a:p>
            <a:pPr eaLnBrk="1" hangingPunct="1"/>
            <a:r>
              <a:rPr lang="en-US" altLang="en-US" dirty="0" smtClean="0"/>
              <a:t>Instead of </a:t>
            </a:r>
            <a:r>
              <a:rPr lang="en-US" altLang="en-US" i="1" dirty="0" smtClean="0"/>
              <a:t>Y</a:t>
            </a:r>
            <a:r>
              <a:rPr lang="en-US" altLang="en-US" dirty="0" smtClean="0"/>
              <a:t> as outcome variable (like in linear regression), we use a function of Y called the </a:t>
            </a:r>
            <a:r>
              <a:rPr lang="en-US" altLang="en-US" b="1" i="1" dirty="0" smtClean="0"/>
              <a:t>logit</a:t>
            </a:r>
          </a:p>
          <a:p>
            <a:pPr eaLnBrk="1" hangingPunct="1"/>
            <a:r>
              <a:rPr lang="en-US" altLang="en-US" dirty="0" smtClean="0"/>
              <a:t>Logit can be modeled as a linear function of the predictors</a:t>
            </a:r>
          </a:p>
          <a:p>
            <a:pPr eaLnBrk="1" hangingPunct="1"/>
            <a:r>
              <a:rPr lang="en-US" altLang="en-US" dirty="0" smtClean="0"/>
              <a:t>The logit can be mapped back to a probability, which, in turn, can be mapped to a class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pic>
        <p:nvPicPr>
          <p:cNvPr id="86018" name="Picture 2" descr="Image result for logi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034" y="3939808"/>
            <a:ext cx="3333750" cy="2171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ight Brace 1"/>
          <p:cNvSpPr/>
          <p:nvPr/>
        </p:nvSpPr>
        <p:spPr>
          <a:xfrm>
            <a:off x="5328140" y="3938954"/>
            <a:ext cx="879231" cy="21453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295293" y="4589583"/>
            <a:ext cx="2989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is is a continuous outcome but has little change  as it approaches -1 &amp; 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48258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600" smtClean="0"/>
              <a:t>Step 1: Logistic Response Function</a:t>
            </a:r>
          </a:p>
        </p:txBody>
      </p:sp>
      <p:sp>
        <p:nvSpPr>
          <p:cNvPr id="1028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1350499"/>
          </a:xfrm>
        </p:spPr>
        <p:txBody>
          <a:bodyPr/>
          <a:lstStyle/>
          <a:p>
            <a:pPr marL="0" indent="0" eaLnBrk="1" hangingPunct="1">
              <a:buFont typeface="Wingdings 2" panose="05020102010507070707" pitchFamily="18" charset="2"/>
              <a:buNone/>
            </a:pPr>
            <a:r>
              <a:rPr lang="en-US" altLang="en-US" i="1" dirty="0" smtClean="0"/>
              <a:t>p</a:t>
            </a:r>
            <a:r>
              <a:rPr lang="en-US" altLang="en-US" dirty="0" smtClean="0"/>
              <a:t> = probability of belonging to class 1</a:t>
            </a:r>
          </a:p>
          <a:p>
            <a:pPr marL="0" indent="0" eaLnBrk="1" hangingPunct="1">
              <a:buFont typeface="Wingdings 2" panose="05020102010507070707" pitchFamily="18" charset="2"/>
              <a:buNone/>
            </a:pPr>
            <a:endParaRPr lang="en-US" altLang="en-US" dirty="0" smtClean="0"/>
          </a:p>
          <a:p>
            <a:pPr marL="0" indent="0" eaLnBrk="1" hangingPunct="1">
              <a:buFont typeface="Wingdings 2" panose="05020102010507070707" pitchFamily="18" charset="2"/>
              <a:buNone/>
            </a:pPr>
            <a:r>
              <a:rPr lang="en-US" altLang="en-US" dirty="0" smtClean="0"/>
              <a:t>Need to relate </a:t>
            </a:r>
            <a:r>
              <a:rPr lang="en-US" altLang="en-US" i="1" dirty="0" smtClean="0"/>
              <a:t>p</a:t>
            </a:r>
            <a:r>
              <a:rPr lang="en-US" altLang="en-US" dirty="0" smtClean="0"/>
              <a:t> to predictors with a function that guarantees 0 </a:t>
            </a:r>
            <a:r>
              <a:rPr lang="en-US" altLang="en-US" dirty="0" smtClean="0">
                <a:sym typeface="Symbol" panose="05050102010706020507" pitchFamily="18" charset="2"/>
              </a:rPr>
              <a:t></a:t>
            </a:r>
            <a:r>
              <a:rPr lang="en-US" altLang="en-US" dirty="0" smtClean="0"/>
              <a:t> </a:t>
            </a:r>
            <a:r>
              <a:rPr lang="en-US" altLang="en-US" i="1" dirty="0" smtClean="0"/>
              <a:t>p</a:t>
            </a:r>
            <a:r>
              <a:rPr lang="en-US" altLang="en-US" dirty="0" smtClean="0"/>
              <a:t> </a:t>
            </a:r>
            <a:r>
              <a:rPr lang="en-US" altLang="en-US" dirty="0" smtClean="0">
                <a:sym typeface="Symbol" panose="05050102010706020507" pitchFamily="18" charset="2"/>
              </a:rPr>
              <a:t></a:t>
            </a:r>
            <a:r>
              <a:rPr lang="en-US" altLang="en-US" dirty="0" smtClean="0"/>
              <a:t> 1</a:t>
            </a:r>
          </a:p>
          <a:p>
            <a:pPr marL="0" indent="0" eaLnBrk="1" hangingPunct="1"/>
            <a:endParaRPr lang="en-US" altLang="en-US" dirty="0" smtClean="0"/>
          </a:p>
          <a:p>
            <a:pPr marL="0" indent="0" eaLnBrk="1" hangingPunct="1"/>
            <a:endParaRPr lang="en-US" altLang="en-US" dirty="0" smtClean="0"/>
          </a:p>
          <a:p>
            <a:pPr marL="0" indent="0" eaLnBrk="1" hangingPunct="1">
              <a:buFont typeface="Wingdings 2" panose="05020102010507070707" pitchFamily="18" charset="2"/>
              <a:buNone/>
            </a:pPr>
            <a:endParaRPr lang="en-US" altLang="en-US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81351" y="2743199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  <a:endParaRPr lang="en" sz="24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 smtClean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  <a:endParaRPr lang="en" sz="2400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116623" y="4413728"/>
            <a:ext cx="69107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169983" y="4964314"/>
            <a:ext cx="9862533" cy="1166855"/>
            <a:chOff x="-759635" y="2037702"/>
            <a:chExt cx="8955259" cy="1166855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9" name="Shape 319"/>
                <p:cNvSpPr txBox="1"/>
                <p:nvPr/>
              </p:nvSpPr>
              <p:spPr>
                <a:xfrm>
                  <a:off x="1683664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 smtClean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  <a:endParaRPr lang="en" sz="2400" dirty="0">
                    <a:latin typeface="Open Sans"/>
                    <a:ea typeface="Open Sans"/>
                    <a:cs typeface="Open Sans"/>
                    <a:sym typeface="Open Sans"/>
                  </a:endParaRPr>
                </a:p>
              </p:txBody>
            </p:sp>
          </mc:Choice>
          <mc:Fallback>
            <p:sp>
              <p:nvSpPr>
                <p:cNvPr id="19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83664" y="2248718"/>
                  <a:ext cx="6511960" cy="504600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l="-1274" t="-2410" b="-2530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Shape 320"/>
            <p:cNvSpPr txBox="1"/>
            <p:nvPr/>
          </p:nvSpPr>
          <p:spPr>
            <a:xfrm>
              <a:off x="-759635" y="2037702"/>
              <a:ext cx="803673" cy="116685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 smtClean="0">
                  <a:latin typeface="Open Sans"/>
                  <a:ea typeface="Open Sans"/>
                  <a:cs typeface="Open Sans"/>
                  <a:sym typeface="Open Sans"/>
                </a:rPr>
                <a:t>Logit of </a:t>
              </a:r>
              <a:endParaRPr lang="en" sz="2400" dirty="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21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03585" y="4923693"/>
            <a:ext cx="636521" cy="12017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492369" y="2497015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gression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556846" y="4548553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stic Regression</a:t>
            </a:r>
            <a:endParaRPr lang="en-US" dirty="0"/>
          </a:p>
        </p:txBody>
      </p:sp>
      <p:pic>
        <p:nvPicPr>
          <p:cNvPr id="24" name="Picture 2" descr="Image result for logi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11" y="5169877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295142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outcome is logi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Shape 319"/>
              <p:cNvSpPr txBox="1"/>
              <p:nvPr/>
            </p:nvSpPr>
            <p:spPr>
              <a:xfrm>
                <a:off x="2162189" y="3065176"/>
                <a:ext cx="7171695" cy="5046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91425" rIns="91425" bIns="91425" anchor="t" anchorCtr="0">
                <a:noAutofit/>
              </a:bodyPr>
              <a:lstStyle/>
              <a:p>
                <a:r>
                  <a:rPr lang="en" sz="2400" dirty="0">
                    <a:latin typeface="Open Sans"/>
                    <a:ea typeface="Open Sans"/>
                    <a:cs typeface="Open Sans"/>
                    <a:sym typeface="Open Sans"/>
                  </a:rPr>
                  <a:t>=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 smtClean="0">
                    <a:latin typeface="Open Sans"/>
                    <a:ea typeface="Open Sans"/>
                    <a:cs typeface="Open Sans"/>
                    <a:sym typeface="Open Sans"/>
                  </a:rPr>
                  <a:t>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 smtClean="0">
                    <a:latin typeface="Open Sans"/>
                    <a:ea typeface="Open Sans"/>
                    <a:cs typeface="Open Sans"/>
                    <a:sym typeface="Open Sans"/>
                  </a:rPr>
                  <a:t>*temperature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 smtClean="0">
                    <a:latin typeface="Open Sans"/>
                    <a:ea typeface="Open Sans"/>
                    <a:cs typeface="Open Sans"/>
                    <a:sym typeface="Open Sans"/>
                  </a:rPr>
                  <a:t>*day +</a:t>
                </a:r>
                <a:r>
                  <a:rPr lang="el-GR" sz="2400" dirty="0"/>
                  <a:t> </a:t>
                </a:r>
                <a14:m>
                  <m:oMath xmlns:m="http://schemas.openxmlformats.org/officeDocument/2006/math">
                    <m:r>
                      <a:rPr lang="el-GR" sz="24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" sz="2400" dirty="0" smtClean="0">
                    <a:latin typeface="Open Sans"/>
                    <a:ea typeface="Open Sans"/>
                    <a:cs typeface="Open Sans"/>
                    <a:sym typeface="Open Sans"/>
                  </a:rPr>
                  <a:t>*price + error</a:t>
                </a:r>
                <a:endParaRPr lang="en" sz="2400" dirty="0"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</mc:Choice>
        <mc:Fallback>
          <p:sp>
            <p:nvSpPr>
              <p:cNvPr id="7" name="Shape 3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2189" y="3065176"/>
                <a:ext cx="7171695" cy="504600"/>
              </a:xfrm>
              <a:prstGeom prst="rect">
                <a:avLst/>
              </a:prstGeom>
              <a:blipFill rotWithShape="0">
                <a:blip r:embed="rId2"/>
                <a:stretch>
                  <a:fillRect l="-1361" t="-2410" b="-2530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2" descr="Image result for logi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928" y="3059723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85800" y="5275385"/>
            <a:ext cx="7578969" cy="6330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ince the outcome now links to a math function (logit) with a hard to interpret output, the output needs to be adjusted to get something meaningfu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76299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ating Probability from Logi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914400" y="1524000"/>
            <a:ext cx="7772400" cy="11430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300" smtClean="0"/>
              <a:t>The Fix: </a:t>
            </a:r>
            <a:br>
              <a:rPr lang="en-US" altLang="en-US" sz="4300" smtClean="0"/>
            </a:br>
            <a:r>
              <a:rPr lang="en-US" altLang="en-US" sz="4300" smtClean="0"/>
              <a:t>use </a:t>
            </a:r>
            <a:r>
              <a:rPr lang="en-US" altLang="en-US" sz="4300" b="1" i="1" smtClean="0"/>
              <a:t>logistic response function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895600" y="4642329"/>
            <a:ext cx="3833813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algn="ctr" eaLnBrk="1" hangingPunct="1">
              <a:spcBef>
                <a:spcPts val="375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None/>
            </a:pPr>
            <a:r>
              <a:rPr lang="en-US" altLang="en-US" sz="2200">
                <a:latin typeface="Franklin Gothic Book" panose="020B0503020102020204" pitchFamily="34" charset="0"/>
              </a:rPr>
              <a:t>Equation 10.2 in textboo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/>
              <p:cNvSpPr/>
              <p:nvPr/>
            </p:nvSpPr>
            <p:spPr>
              <a:xfrm>
                <a:off x="1723292" y="5468815"/>
                <a:ext cx="6875585" cy="33855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𝑛𝑎𝑡𝑢𝑎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𝑎𝑟𝑖𝑡h𝑚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~2.718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9" name="Rectangle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3292" y="5468815"/>
                <a:ext cx="6875585" cy="338554"/>
              </a:xfrm>
              <a:prstGeom prst="rect">
                <a:avLst/>
              </a:prstGeom>
              <a:blipFill rotWithShape="0">
                <a:blip r:embed="rId3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0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77076490"/>
              </p:ext>
            </p:extLst>
          </p:nvPr>
        </p:nvGraphicFramePr>
        <p:xfrm>
          <a:off x="-2590800" y="2813529"/>
          <a:ext cx="14385925" cy="1690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6" name="Document" r:id="rId4" imgW="4123414" imgH="484801" progId="Word.Document.12">
                  <p:embed/>
                </p:oleObj>
              </mc:Choice>
              <mc:Fallback>
                <p:oleObj name="Document" r:id="rId4" imgW="4123414" imgH="484801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590800" y="2813529"/>
                        <a:ext cx="14385925" cy="1690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88566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fitting, continu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smtClean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smtClean="0">
                <a:latin typeface="Franklin Gothic Book" pitchFamily="34" charset="0"/>
              </a:rPr>
              <a:t>Too many predictors</a:t>
            </a:r>
          </a:p>
          <a:p>
            <a:pPr marL="742950" lvl="1" indent="-285750">
              <a:defRPr/>
            </a:pPr>
            <a:r>
              <a:rPr lang="en-US" sz="2200" smtClean="0">
                <a:latin typeface="Franklin Gothic Book" pitchFamily="34" charset="0"/>
              </a:rPr>
              <a:t>A model with too many parameters </a:t>
            </a:r>
          </a:p>
          <a:p>
            <a:pPr marL="742950" lvl="1" indent="-285750">
              <a:defRPr/>
            </a:pPr>
            <a:r>
              <a:rPr lang="en-US" sz="2200" smtClean="0">
                <a:latin typeface="Franklin Gothic Book" pitchFamily="34" charset="0"/>
              </a:rPr>
              <a:t>Trying many different models</a:t>
            </a:r>
          </a:p>
          <a:p>
            <a:pPr marL="742950" lvl="1" indent="-285750">
              <a:defRPr/>
            </a:pPr>
            <a:r>
              <a:rPr lang="en-US" sz="2200" smtClean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smtClean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smtClean="0">
                <a:latin typeface="Franklin Gothic Book" pitchFamily="34" charset="0"/>
              </a:rPr>
              <a:t>Consequence:  Deployed model will not work as well as expected with completely new data.</a:t>
            </a:r>
            <a:endParaRPr 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Single Predictor Model</a:t>
            </a:r>
          </a:p>
        </p:txBody>
      </p:sp>
      <p:sp>
        <p:nvSpPr>
          <p:cNvPr id="2048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1600200"/>
            <a:ext cx="8763000" cy="4419600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smtClean="0"/>
              <a:t>Modeling loan acceptance on income (</a:t>
            </a:r>
            <a:r>
              <a:rPr lang="en-US" altLang="en-US" i="1" smtClean="0"/>
              <a:t>x</a:t>
            </a:r>
            <a:r>
              <a:rPr lang="en-US" altLang="en-US" smtClean="0"/>
              <a:t>)</a:t>
            </a:r>
          </a:p>
          <a:p>
            <a:pPr eaLnBrk="1" hangingPunct="1"/>
            <a:endParaRPr lang="en-US" altLang="en-US" smtClean="0"/>
          </a:p>
          <a:p>
            <a:pPr eaLnBrk="1" hangingPunct="1"/>
            <a:endParaRPr lang="en-US" altLang="en-US" smtClean="0"/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smtClean="0"/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smtClean="0"/>
          </a:p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smtClean="0"/>
              <a:t>Fitted coefficients (more later): b</a:t>
            </a:r>
            <a:r>
              <a:rPr lang="en-US" altLang="en-US" baseline="-25000" smtClean="0"/>
              <a:t>0</a:t>
            </a:r>
            <a:r>
              <a:rPr lang="en-US" altLang="en-US" smtClean="0"/>
              <a:t> = -6.3525, b</a:t>
            </a:r>
            <a:r>
              <a:rPr lang="en-US" altLang="en-US" baseline="-25000" smtClean="0"/>
              <a:t>1</a:t>
            </a:r>
            <a:r>
              <a:rPr lang="en-US" altLang="en-US" smtClean="0"/>
              <a:t> = -0.0392 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smtClean="0"/>
          </a:p>
        </p:txBody>
      </p:sp>
      <p:pic>
        <p:nvPicPr>
          <p:cNvPr id="2048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62" y="2226897"/>
            <a:ext cx="7905750" cy="99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63" y="5105400"/>
            <a:ext cx="7500937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</p:spTree>
    <p:extLst>
      <p:ext uri="{BB962C8B-B14F-4D97-AF65-F5344CB8AC3E}">
        <p14:creationId xmlns:p14="http://schemas.microsoft.com/office/powerpoint/2010/main" val="3419304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h math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/>
              <p:cNvSpPr/>
              <p:nvPr/>
            </p:nvSpPr>
            <p:spPr>
              <a:xfrm>
                <a:off x="1134208" y="5715005"/>
                <a:ext cx="6875585" cy="33855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𝑛𝑎𝑡𝑢𝑎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𝑎𝑟𝑖𝑡h𝑚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~2.718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6" name="Rectangle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4208" y="5715005"/>
                <a:ext cx="6875585" cy="338554"/>
              </a:xfrm>
              <a:prstGeom prst="rect">
                <a:avLst/>
              </a:prstGeom>
              <a:blipFill rotWithShape="0">
                <a:blip r:embed="rId2"/>
                <a:stretch>
                  <a:fillRect b="-909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1134208" y="1101964"/>
                <a:ext cx="6875585" cy="33855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𝑝𝑟𝑒𝑓𝑒𝑟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𝑜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𝑢𝑠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𝑑𝑖𝑓𝑓𝑒𝑟𝑒𝑛𝑡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𝑞𝑢𝑎𝑡𝑖𝑜𝑛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4208" y="1101964"/>
                <a:ext cx="6875585" cy="338554"/>
              </a:xfrm>
              <a:prstGeom prst="rect">
                <a:avLst/>
              </a:prstGeom>
              <a:blipFill rotWithShape="0">
                <a:blip r:embed="rId3"/>
                <a:stretch>
                  <a:fillRect b="-1090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2310" y="1734272"/>
            <a:ext cx="7010400" cy="8572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172310" y="1459513"/>
            <a:ext cx="16828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From Wikipedia.com</a:t>
            </a:r>
            <a:endParaRPr lang="en-US" sz="1400" i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/>
              <p:cNvSpPr/>
              <p:nvPr/>
            </p:nvSpPr>
            <p:spPr>
              <a:xfrm>
                <a:off x="1145931" y="5287112"/>
                <a:ext cx="6875585" cy="33855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𝑜𝑢𝑡𝑝𝑢𝑡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𝑜𝑓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𝑒𝑞𝑢𝑎𝑡𝑖𝑜𝑛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𝑙𝑜𝑔𝑂𝑑𝑑𝑠</m:t>
                      </m:r>
                      <m:r>
                        <a:rPr lang="en-US" sz="16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2" name="Rectangle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5931" y="5287112"/>
                <a:ext cx="6875585" cy="338554"/>
              </a:xfrm>
              <a:prstGeom prst="rect">
                <a:avLst/>
              </a:prstGeom>
              <a:blipFill rotWithShape="0">
                <a:blip r:embed="rId5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" name="Group 17"/>
          <p:cNvGrpSpPr/>
          <p:nvPr/>
        </p:nvGrpSpPr>
        <p:grpSpPr>
          <a:xfrm>
            <a:off x="3552093" y="3305907"/>
            <a:ext cx="2039815" cy="1187569"/>
            <a:chOff x="2989384" y="3305907"/>
            <a:chExt cx="2039815" cy="118756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TextBox 14"/>
                <p:cNvSpPr txBox="1"/>
                <p:nvPr/>
              </p:nvSpPr>
              <p:spPr>
                <a:xfrm>
                  <a:off x="2989384" y="3305907"/>
                  <a:ext cx="2039815" cy="118756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3600" i="1" u="sng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en-US" sz="3600" i="1" u="sng" baseline="300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𝑙</m:t>
                        </m:r>
                      </m:oMath>
                    </m:oMathPara>
                  </a14:m>
                  <a:endParaRPr lang="en-US" sz="3600" i="1" u="sng" baseline="30000" dirty="0">
                    <a:solidFill>
                      <a:schemeClr val="tx1"/>
                    </a:solidFill>
                    <a:latin typeface="Cambria Math" panose="02040503050406030204" pitchFamily="18" charset="0"/>
                  </a:endParaRPr>
                </a:p>
                <a:p>
                  <a:pPr algn="ctr"/>
                  <a:r>
                    <a:rPr lang="en-US" sz="3600" dirty="0" smtClean="0">
                      <a:solidFill>
                        <a:schemeClr val="tx1"/>
                      </a:solidFill>
                    </a:rPr>
                    <a:t>(1 +</a:t>
                  </a:r>
                  <a14:m>
                    <m:oMath xmlns:m="http://schemas.openxmlformats.org/officeDocument/2006/math">
                      <m:r>
                        <a:rPr lang="en-US" sz="3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US" sz="3600" i="1" baseline="300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𝑙</m:t>
                      </m:r>
                    </m:oMath>
                  </a14:m>
                  <a:r>
                    <a:rPr lang="en-US" sz="3600" dirty="0" smtClean="0">
                      <a:solidFill>
                        <a:schemeClr val="tx1"/>
                      </a:solidFill>
                    </a:rPr>
                    <a:t>)</a:t>
                  </a:r>
                  <a:endParaRPr lang="en-US" sz="3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5" name="TextBox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89384" y="3305907"/>
                  <a:ext cx="2039815" cy="1187569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 b="-18462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7" name="Straight Connector 16"/>
            <p:cNvCxnSpPr/>
            <p:nvPr/>
          </p:nvCxnSpPr>
          <p:spPr>
            <a:xfrm>
              <a:off x="2989384" y="3829352"/>
              <a:ext cx="203981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584912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CAA Classification Madne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809120" y="1522390"/>
            <a:ext cx="2714964" cy="362990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College Basketball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Annual 64 team tournament</a:t>
            </a:r>
          </a:p>
          <a:p>
            <a:pPr marL="0" indent="0">
              <a:buNone/>
            </a:pPr>
            <a:endParaRPr lang="en-US" sz="20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  <a:p>
            <a:pPr marL="0" indent="0">
              <a:buNone/>
            </a:pPr>
            <a:r>
              <a:rPr lang="en-US" sz="2000" b="1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usiness Impact: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1B wagered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2B in lost productivity</a:t>
            </a:r>
          </a:p>
          <a:p>
            <a:r>
              <a:rPr lang="en-US" sz="2000" dirty="0" smtClean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ragging Rights</a:t>
            </a:r>
            <a:endParaRPr lang="en-US" sz="20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</p:txBody>
      </p:sp>
      <p:pic>
        <p:nvPicPr>
          <p:cNvPr id="7" name="Picture 2" descr="http://ll-media.tmz.com/2013/02/28/0228-adidas-ncaa-jerseys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9" y="1452131"/>
            <a:ext cx="5029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27538" y="5609492"/>
            <a:ext cx="8071339" cy="404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jective: Identify the probability of a team winning in Round 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21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y friend Mandy is next level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62658" y="5833633"/>
            <a:ext cx="8818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https://fivethirtyeight.com/features/how-a-data-scientist-whod-never-heard-of-basketball-mastered-march-madness</a:t>
            </a:r>
            <a:r>
              <a:rPr lang="en-US" sz="1400" dirty="0" smtClean="0">
                <a:hlinkClick r:id="rId2"/>
              </a:rPr>
              <a:t>/</a:t>
            </a:r>
            <a:endParaRPr lang="en-US" sz="1400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623" y="1479982"/>
            <a:ext cx="6910754" cy="389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036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100013" y="365126"/>
            <a:ext cx="9401176" cy="591477"/>
          </a:xfrm>
        </p:spPr>
        <p:txBody>
          <a:bodyPr/>
          <a:lstStyle/>
          <a:p>
            <a:r>
              <a:rPr lang="en-US" dirty="0"/>
              <a:t>From probability to class, define a cutoff threshol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03384" y="144780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/>
              <a:t>0.50 is popular initial choice</a:t>
            </a:r>
          </a:p>
          <a:p>
            <a:endParaRPr lang="en-US" altLang="en-US"/>
          </a:p>
          <a:p>
            <a:r>
              <a:rPr lang="en-US" altLang="en-US"/>
              <a:t>Additional considerations (see Chapter 5)</a:t>
            </a:r>
          </a:p>
          <a:p>
            <a:pPr marL="742950" lvl="1" indent="-285750"/>
            <a:r>
              <a:rPr lang="en-US" altLang="en-US" sz="2200"/>
              <a:t>Maximize classification accuracy</a:t>
            </a:r>
          </a:p>
          <a:p>
            <a:pPr marL="742950" lvl="1" indent="-285750"/>
            <a:r>
              <a:rPr lang="en-US" altLang="en-US" sz="2200"/>
              <a:t>Maximize sensitivity (subject to min. level of specificity)</a:t>
            </a:r>
          </a:p>
          <a:p>
            <a:pPr marL="742950" lvl="1" indent="-285750"/>
            <a:r>
              <a:rPr lang="en-US" altLang="en-US" sz="2200"/>
              <a:t>Minimize false positives (subject to max. false negative rate)</a:t>
            </a:r>
          </a:p>
          <a:p>
            <a:pPr marL="742950" lvl="1" indent="-285750"/>
            <a:r>
              <a:rPr lang="en-US" altLang="en-US" sz="2200"/>
              <a:t>Minimize expected cost of misclassification (need to specify costs)</a:t>
            </a:r>
          </a:p>
          <a:p>
            <a:endParaRPr lang="en-US" altLang="en-US"/>
          </a:p>
          <a:p>
            <a:endParaRPr lang="en-US" altLang="en-US" dirty="0"/>
          </a:p>
        </p:txBody>
      </p:sp>
      <p:sp>
        <p:nvSpPr>
          <p:cNvPr id="8" name="Rectangle 7"/>
          <p:cNvSpPr/>
          <p:nvPr/>
        </p:nvSpPr>
        <p:spPr>
          <a:xfrm>
            <a:off x="527538" y="5404513"/>
            <a:ext cx="8071339" cy="609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f a team has a probability of .25 classify them as a loser.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If a team has .50  or more classify them as a winner</a:t>
            </a:r>
          </a:p>
        </p:txBody>
      </p:sp>
    </p:spTree>
    <p:extLst>
      <p:ext uri="{BB962C8B-B14F-4D97-AF65-F5344CB8AC3E}">
        <p14:creationId xmlns:p14="http://schemas.microsoft.com/office/powerpoint/2010/main" val="62827357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77515" y="1459832"/>
            <a:ext cx="59826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Open </a:t>
            </a:r>
            <a:r>
              <a:rPr lang="en-US" sz="2800" b="1" dirty="0" err="1"/>
              <a:t>G_fullyMarchMadnessREVISED.R</a:t>
            </a:r>
            <a:endParaRPr lang="en-US" sz="2800" b="1" dirty="0"/>
          </a:p>
        </p:txBody>
      </p:sp>
      <p:sp>
        <p:nvSpPr>
          <p:cNvPr id="7" name="Rectangle 6"/>
          <p:cNvSpPr/>
          <p:nvPr/>
        </p:nvSpPr>
        <p:spPr>
          <a:xfrm>
            <a:off x="2586038" y="3114675"/>
            <a:ext cx="4086225" cy="1285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 skip over the “F” </a:t>
            </a:r>
            <a:r>
              <a:rPr lang="en-US" dirty="0" err="1"/>
              <a:t>Rscript</a:t>
            </a:r>
            <a:r>
              <a:rPr lang="en-US" dirty="0"/>
              <a:t> which builds a single variable logistic regression.  </a:t>
            </a:r>
          </a:p>
        </p:txBody>
      </p:sp>
    </p:spTree>
    <p:extLst>
      <p:ext uri="{BB962C8B-B14F-4D97-AF65-F5344CB8AC3E}">
        <p14:creationId xmlns:p14="http://schemas.microsoft.com/office/powerpoint/2010/main" val="48990608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Class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66274" y="1475876"/>
            <a:ext cx="1797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Confusion Matrix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125" y="1855120"/>
            <a:ext cx="2750733" cy="13212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465095" y="1780675"/>
            <a:ext cx="499861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predicted losers 390 (316 + 74)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was correct 316 times for lo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predicted 378 winners (68+31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was correct 310 times for winners</a:t>
            </a:r>
          </a:p>
        </p:txBody>
      </p:sp>
    </p:spTree>
    <p:extLst>
      <p:ext uri="{BB962C8B-B14F-4D97-AF65-F5344CB8AC3E}">
        <p14:creationId xmlns:p14="http://schemas.microsoft.com/office/powerpoint/2010/main" val="10118151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Logistic regression is similar to linear regression, except that it is used with a categorical response</a:t>
            </a:r>
          </a:p>
          <a:p>
            <a:r>
              <a:rPr lang="en-US" altLang="en-US" dirty="0"/>
              <a:t>The predictors are related to the response Y via a nonlinear function called the </a:t>
            </a:r>
            <a:r>
              <a:rPr lang="en-US" altLang="en-US" i="1" dirty="0"/>
              <a:t>logit</a:t>
            </a:r>
          </a:p>
          <a:p>
            <a:r>
              <a:rPr lang="en-US" altLang="en-US" dirty="0"/>
              <a:t>As in linear regression, reducing predictors can be done via variable selection</a:t>
            </a:r>
          </a:p>
          <a:p>
            <a:r>
              <a:rPr lang="en-US" altLang="en-US" dirty="0"/>
              <a:t>Logistic regression can be generalized to more than two classes</a:t>
            </a:r>
          </a:p>
        </p:txBody>
      </p:sp>
    </p:spTree>
    <p:extLst>
      <p:ext uri="{BB962C8B-B14F-4D97-AF65-F5344CB8AC3E}">
        <p14:creationId xmlns:p14="http://schemas.microsoft.com/office/powerpoint/2010/main" val="270442250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773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in Action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Partitioning Data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 smtClean="0">
                          <a:solidFill>
                            <a:schemeClr val="tx1"/>
                          </a:solidFill>
                        </a:rPr>
                        <a:t>Regression 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070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  <a:endParaRPr lang="en-US" sz="2000" b="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46922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0" y="1714500"/>
            <a:ext cx="484087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answer Yes/No Business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1054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&amp; Logistic Regression are two good starting algorithms .  Both put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132" y="36433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2" y="39481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6591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imize Overfitting - Partitio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mtClean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smtClean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smtClean="0"/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21856" y="1104653"/>
            <a:ext cx="850557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10-8 </a:t>
            </a:r>
            <a:r>
              <a:rPr lang="en-US" sz="2400" dirty="0" smtClean="0"/>
              <a:t>No </a:t>
            </a:r>
            <a:r>
              <a:rPr lang="en-US" sz="2400" dirty="0" smtClean="0"/>
              <a:t>cla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I will announce an 10-8 lab session to answer R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Roman will provide a lab after </a:t>
            </a:r>
            <a:r>
              <a:rPr lang="en-US" sz="2400" dirty="0" err="1" smtClean="0"/>
              <a:t>Okcupid</a:t>
            </a:r>
            <a:r>
              <a:rPr lang="en-US" sz="2400" dirty="0" smtClean="0"/>
              <a:t> Case to review code examples</a:t>
            </a: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Chapter 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OKCupid</a:t>
            </a:r>
            <a:r>
              <a:rPr lang="en-US" sz="2400" dirty="0" smtClean="0"/>
              <a:t> Cas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All </a:t>
            </a:r>
            <a:r>
              <a:rPr lang="en-US" sz="2400" dirty="0" smtClean="0"/>
              <a:t>files including slides, code (if applicable) &amp; video</a:t>
            </a:r>
          </a:p>
          <a:p>
            <a:r>
              <a:rPr lang="en-US" sz="2400" dirty="0"/>
              <a:t>	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usekeeping , Reading &amp; Homewo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89548" y="2878924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89548" y="3796463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628648" y="5100426"/>
            <a:ext cx="7943851" cy="103310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en-US" b="1" dirty="0" smtClean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MOVE FROM YOUR WORKLOAD &amp; SYLLABUS!!!</a:t>
            </a:r>
          </a:p>
          <a:p>
            <a:pPr algn="ctr">
              <a:lnSpc>
                <a:spcPct val="115000"/>
              </a:lnSpc>
            </a:pPr>
            <a:r>
              <a:rPr lang="en-US" b="1" dirty="0" smtClean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1.  </a:t>
            </a:r>
            <a:r>
              <a:rPr lang="en-US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6.2 Predicting Software Reselling Profits</a:t>
            </a:r>
            <a:endParaRPr lang="en-US" sz="2000" b="1" dirty="0">
              <a:solidFill>
                <a:schemeClr val="bg1"/>
              </a:solidFill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en-US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2. C6.3 Predicting Airfare on routes</a:t>
            </a:r>
            <a:endParaRPr lang="en-US" sz="2000" b="1" dirty="0">
              <a:solidFill>
                <a:schemeClr val="bg1"/>
              </a:solidFill>
              <a:effectLst/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184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06</TotalTime>
  <Words>4142</Words>
  <Application>Microsoft Office PowerPoint</Application>
  <PresentationFormat>On-screen Show (4:3)</PresentationFormat>
  <Paragraphs>948</Paragraphs>
  <Slides>90</Slides>
  <Notes>25</Notes>
  <HiddenSlides>0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0</vt:i4>
      </vt:variant>
    </vt:vector>
  </HeadingPairs>
  <TitlesOfParts>
    <vt:vector size="105" baseType="lpstr">
      <vt:lpstr>Arial</vt:lpstr>
      <vt:lpstr>Calibri</vt:lpstr>
      <vt:lpstr>Calibri Light</vt:lpstr>
      <vt:lpstr>Cambria Math</vt:lpstr>
      <vt:lpstr>Franklin Gothic Book</vt:lpstr>
      <vt:lpstr>Garamond</vt:lpstr>
      <vt:lpstr>Helvetica Neue</vt:lpstr>
      <vt:lpstr>Open Sans</vt:lpstr>
      <vt:lpstr>Perpetua</vt:lpstr>
      <vt:lpstr>Symbol</vt:lpstr>
      <vt:lpstr>Times New Roman</vt:lpstr>
      <vt:lpstr>Wingdings 2</vt:lpstr>
      <vt:lpstr>1_Office Theme</vt:lpstr>
      <vt:lpstr>think-cell Slide</vt:lpstr>
      <vt:lpstr>Document</vt:lpstr>
      <vt:lpstr>Regression &amp; Logistic Regression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Topics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  <vt:lpstr>Agenda</vt:lpstr>
      <vt:lpstr>Regression Vs Logistic Regression</vt:lpstr>
      <vt:lpstr>PowerPoint Presentation</vt:lpstr>
      <vt:lpstr>Huh?</vt:lpstr>
      <vt:lpstr>Let’s find out firsthand.</vt:lpstr>
      <vt:lpstr>Logistic Regression</vt:lpstr>
      <vt:lpstr>The Logit</vt:lpstr>
      <vt:lpstr>Step 1: Logistic Response Function</vt:lpstr>
      <vt:lpstr>The outcome is logits</vt:lpstr>
      <vt:lpstr>Calculating Probability from Logits</vt:lpstr>
      <vt:lpstr>Single Predictor Model</vt:lpstr>
      <vt:lpstr>Oh math…</vt:lpstr>
      <vt:lpstr>NCAA Classification Madness</vt:lpstr>
      <vt:lpstr>My friend Mandy is next level.</vt:lpstr>
      <vt:lpstr>From probability to class, define a cutoff threshold.</vt:lpstr>
      <vt:lpstr>Let’s practice</vt:lpstr>
      <vt:lpstr>Evaluating a Classification</vt:lpstr>
      <vt:lpstr>Logistic Regression Summary</vt:lpstr>
      <vt:lpstr>Agenda</vt:lpstr>
      <vt:lpstr>Your Data Mining Toolbox</vt:lpstr>
      <vt:lpstr>Housekeeping , Reading &amp; Homework</vt:lpstr>
    </vt:vector>
  </TitlesOfParts>
  <Company>Liberty Mutu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Edward Kwartler</cp:lastModifiedBy>
  <cp:revision>249</cp:revision>
  <dcterms:created xsi:type="dcterms:W3CDTF">2018-05-23T17:24:59Z</dcterms:created>
  <dcterms:modified xsi:type="dcterms:W3CDTF">2018-10-01T20:55:41Z</dcterms:modified>
</cp:coreProperties>
</file>